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1" r:id="rId2"/>
    <p:sldMasterId id="2147484545" r:id="rId3"/>
  </p:sldMasterIdLst>
  <p:notesMasterIdLst>
    <p:notesMasterId r:id="rId65"/>
  </p:notesMasterIdLst>
  <p:handoutMasterIdLst>
    <p:handoutMasterId r:id="rId66"/>
  </p:handoutMasterIdLst>
  <p:sldIdLst>
    <p:sldId id="1610" r:id="rId4"/>
    <p:sldId id="1609" r:id="rId5"/>
    <p:sldId id="1614" r:id="rId6"/>
    <p:sldId id="1612" r:id="rId7"/>
    <p:sldId id="1606" r:id="rId8"/>
    <p:sldId id="1607" r:id="rId9"/>
    <p:sldId id="1608" r:id="rId10"/>
    <p:sldId id="1630" r:id="rId11"/>
    <p:sldId id="1631" r:id="rId12"/>
    <p:sldId id="1514" r:id="rId13"/>
    <p:sldId id="1585" r:id="rId14"/>
    <p:sldId id="1613" r:id="rId15"/>
    <p:sldId id="1627" r:id="rId16"/>
    <p:sldId id="1628" r:id="rId17"/>
    <p:sldId id="1629" r:id="rId18"/>
    <p:sldId id="1632" r:id="rId19"/>
    <p:sldId id="1633" r:id="rId20"/>
    <p:sldId id="1634" r:id="rId21"/>
    <p:sldId id="1635" r:id="rId22"/>
    <p:sldId id="1636" r:id="rId23"/>
    <p:sldId id="1637" r:id="rId24"/>
    <p:sldId id="1638" r:id="rId25"/>
    <p:sldId id="1639" r:id="rId26"/>
    <p:sldId id="1640" r:id="rId27"/>
    <p:sldId id="1558" r:id="rId28"/>
    <p:sldId id="1586" r:id="rId29"/>
    <p:sldId id="1615" r:id="rId30"/>
    <p:sldId id="1616" r:id="rId31"/>
    <p:sldId id="1565" r:id="rId32"/>
    <p:sldId id="1590" r:id="rId33"/>
    <p:sldId id="1589" r:id="rId34"/>
    <p:sldId id="1592" r:id="rId35"/>
    <p:sldId id="1593" r:id="rId36"/>
    <p:sldId id="1594" r:id="rId37"/>
    <p:sldId id="1581" r:id="rId38"/>
    <p:sldId id="1569" r:id="rId39"/>
    <p:sldId id="1572" r:id="rId40"/>
    <p:sldId id="1601" r:id="rId41"/>
    <p:sldId id="1617" r:id="rId42"/>
    <p:sldId id="1559" r:id="rId43"/>
    <p:sldId id="1618" r:id="rId44"/>
    <p:sldId id="1619" r:id="rId45"/>
    <p:sldId id="1560" r:id="rId46"/>
    <p:sldId id="1574" r:id="rId47"/>
    <p:sldId id="1597" r:id="rId48"/>
    <p:sldId id="1600" r:id="rId49"/>
    <p:sldId id="1603" r:id="rId50"/>
    <p:sldId id="1602" r:id="rId51"/>
    <p:sldId id="1620" r:id="rId52"/>
    <p:sldId id="1575" r:id="rId53"/>
    <p:sldId id="1622" r:id="rId54"/>
    <p:sldId id="1576" r:id="rId55"/>
    <p:sldId id="1623" r:id="rId56"/>
    <p:sldId id="1580" r:id="rId57"/>
    <p:sldId id="1624" r:id="rId58"/>
    <p:sldId id="1621" r:id="rId59"/>
    <p:sldId id="1625" r:id="rId60"/>
    <p:sldId id="1578" r:id="rId61"/>
    <p:sldId id="1573" r:id="rId62"/>
    <p:sldId id="1626" r:id="rId63"/>
    <p:sldId id="1502" r:id="rId6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81" d="100"/>
          <a:sy n="81" d="100"/>
        </p:scale>
        <p:origin x="1398" y="9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commentAuthors" Target="commentAuthor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bg2"/>
              </a:solidFill>
              <a:latin typeface="+mj-lt"/>
            </a:rPr>
            <a:t>Business Understanding</a:t>
          </a:r>
          <a:endParaRPr lang="en-US" sz="3200" dirty="0">
            <a:solidFill>
              <a:schemeClr val="bg2"/>
            </a:solidFill>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solidFill>
                <a:schemeClr val="bg2"/>
              </a:solidFill>
              <a:latin typeface="+mj-lt"/>
            </a:rPr>
            <a:t>Define Objectives</a:t>
          </a:r>
          <a:endParaRPr lang="en-US" sz="2000" dirty="0">
            <a:solidFill>
              <a:schemeClr val="bg2"/>
            </a:solidFill>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solidFill>
                <a:schemeClr val="bg2"/>
              </a:solidFill>
              <a:latin typeface="+mj-lt"/>
            </a:rPr>
            <a:t>Identify Data Sources</a:t>
          </a:r>
          <a:endParaRPr lang="en-US" sz="2000" dirty="0">
            <a:solidFill>
              <a:schemeClr val="bg2"/>
            </a:solidFill>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solidFill>
                <a:schemeClr val="bg2"/>
              </a:solidFill>
              <a:latin typeface="+mj-lt"/>
            </a:rPr>
            <a:t>Data Acquisition and Understanding</a:t>
          </a:r>
          <a:endParaRPr lang="en-US" sz="3200" dirty="0">
            <a:solidFill>
              <a:schemeClr val="bg2"/>
            </a:solidFill>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solidFill>
                <a:schemeClr val="bg2"/>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solidFill>
                <a:schemeClr val="bg2"/>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solidFill>
                <a:schemeClr val="bg2"/>
              </a:solidFill>
              <a:latin typeface="+mj-lt"/>
            </a:rPr>
            <a:t>Modeling</a:t>
          </a:r>
          <a:endParaRPr lang="en-US" sz="3200" dirty="0">
            <a:solidFill>
              <a:schemeClr val="bg2"/>
            </a:solidFill>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solidFill>
                <a:schemeClr val="bg2"/>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solidFill>
                <a:schemeClr val="bg2"/>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solidFill>
                <a:schemeClr val="bg2"/>
              </a:solidFill>
              <a:latin typeface="+mj-lt"/>
            </a:rPr>
            <a:t>Deployment</a:t>
          </a:r>
          <a:endParaRPr lang="en-US" sz="3200" dirty="0">
            <a:solidFill>
              <a:schemeClr val="bg2"/>
            </a:solidFill>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solidFill>
                <a:schemeClr val="bg2"/>
              </a:solidFill>
              <a:latin typeface="+mj-lt"/>
            </a:rPr>
            <a:t>Customer Acceptance</a:t>
          </a:r>
          <a:endParaRPr lang="en-US" sz="3200" dirty="0">
            <a:solidFill>
              <a:schemeClr val="bg2"/>
            </a:solidFill>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solidFill>
                <a:schemeClr val="bg2"/>
              </a:solidFill>
              <a:latin typeface="+mj-lt"/>
            </a:rPr>
            <a:t>Operationalize</a:t>
          </a:r>
          <a:endParaRPr lang="en-US" sz="2000" dirty="0">
            <a:solidFill>
              <a:schemeClr val="bg2"/>
            </a:solidFill>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solidFill>
                <a:schemeClr val="bg2"/>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solidFill>
                <a:schemeClr val="bg2"/>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solidFill>
                <a:schemeClr val="bg2"/>
              </a:solidFill>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solidFill>
                <a:schemeClr val="bg2"/>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solidFill>
                <a:schemeClr val="bg2"/>
              </a:solidFill>
            </a:rPr>
            <a:t>Big Data</a:t>
          </a:r>
          <a:endParaRPr lang="en-US" dirty="0">
            <a:solidFill>
              <a:schemeClr val="bg2"/>
            </a:solidFill>
          </a:endParaRP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solidFill>
                <a:schemeClr val="bg2"/>
              </a:solidFill>
            </a:rPr>
            <a:t>Intelligence and Advanced Analytics</a:t>
          </a:r>
          <a:endParaRPr lang="en-US" dirty="0">
            <a:solidFill>
              <a:schemeClr val="bg2"/>
            </a:solidFill>
          </a:endParaRP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solidFill>
                <a:schemeClr val="bg2"/>
              </a:solidFill>
            </a:rPr>
            <a:t>Information Management</a:t>
          </a:r>
          <a:endParaRPr lang="en-US" dirty="0">
            <a:solidFill>
              <a:schemeClr val="bg2"/>
            </a:solidFill>
          </a:endParaRP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solidFill>
                <a:schemeClr val="bg2"/>
              </a:solidFill>
            </a:rPr>
            <a:t>Solutions</a:t>
          </a:r>
          <a:endParaRPr lang="en-US" dirty="0">
            <a:solidFill>
              <a:schemeClr val="bg2"/>
            </a:solidFill>
          </a:endParaRP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solidFill>
                <a:schemeClr val="bg2"/>
              </a:solidFill>
            </a:rPr>
            <a:t>Visualization</a:t>
          </a:r>
          <a:endParaRPr lang="en-US" dirty="0">
            <a:solidFill>
              <a:schemeClr val="bg2"/>
            </a:solidFill>
          </a:endParaRP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solidFill>
                <a:schemeClr val="bg2"/>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solidFill>
                <a:schemeClr val="bg2"/>
              </a:solidFill>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solidFill>
                <a:schemeClr val="bg2"/>
              </a:solidFill>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solidFill>
                <a:schemeClr val="bg2"/>
              </a:solidFill>
            </a:rPr>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solidFill>
                <a:schemeClr val="bg2"/>
              </a:solidFill>
            </a:rPr>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solidFill>
                <a:schemeClr val="bg2"/>
              </a:solidFill>
            </a:rPr>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solidFill>
                <a:schemeClr val="bg2"/>
              </a:solidFill>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solidFill>
                <a:schemeClr val="bg2"/>
              </a:solidFill>
            </a:rPr>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solidFill>
                <a:schemeClr val="bg2"/>
              </a:solidFill>
            </a:rPr>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solidFill>
                <a:schemeClr val="bg2"/>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solidFill>
                <a:schemeClr val="bg2"/>
              </a:solidFill>
            </a:rPr>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solidFill>
                <a:schemeClr val="bg2"/>
              </a:solidFill>
            </a:rPr>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solidFill>
                <a:schemeClr val="bg2"/>
              </a:solidFill>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solidFill>
                <a:schemeClr val="bg2"/>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solidFill>
                <a:schemeClr val="bg2"/>
              </a:solidFill>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solidFill>
                <a:schemeClr val="bg2"/>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4_1" csCatId="accent4"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24F3CD28-0D20-49AC-BCD1-8FC6900ACB49}" srcId="{FD07E91C-7046-43AA-B707-9B569F93A4ED}" destId="{5A40D569-A2CA-4DC5-8096-EB57FC79964E}" srcOrd="0" destOrd="0" parTransId="{148A1BAE-D94C-4F65-8937-B26F380FCE9C}" sibTransId="{27A97A85-62CE-4DC3-92D4-63A5935C3A59}"/>
    <dgm:cxn modelId="{0D2D9288-5573-4729-9220-79BC56DC0B7A}" type="presOf" srcId="{1721E8E1-C089-4FFE-BBEE-283977BBB4E7}" destId="{49D40827-C37B-462A-8830-3781D78F9E47}" srcOrd="1" destOrd="0" presId="urn:microsoft.com/office/officeart/2005/8/layout/bList2"/>
    <dgm:cxn modelId="{39BF5FBC-0A68-4361-B59A-7D49CED77783}" type="presOf" srcId="{6A8ADEC0-2A0D-4067-9DA1-C9A0DDF26CEA}" destId="{79BAC803-CD8B-4D4D-A91A-1BFC6FF553B3}"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E60B8855-41FE-4451-8269-7FF01286C5DB}" type="presOf" srcId="{4984D47A-45EE-4FDD-B815-BA171D1C5A36}" destId="{63298AE1-0B1E-4F2F-9FE9-40C2F82C9870}"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5ACB850D-ACA0-44C7-BE8E-06F88377075D}" type="presOf" srcId="{C70DC36B-8303-4652-8BF1-0D84A29FCFED}" destId="{8969E77D-450B-4AA5-A0D7-1198EF98D262}" srcOrd="0" destOrd="2"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55B62AF8-2210-4A2E-91B7-9AA5CF63BEA4}" type="presOf" srcId="{1721E8E1-C089-4FFE-BBEE-283977BBB4E7}" destId="{BB249775-B93F-4D41-8748-455120B86C4B}"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7094B344-5CE1-434F-A554-2075FD909E67}" type="presOf" srcId="{3AEB83EA-4798-41AA-9117-F3038C37D71B}" destId="{91E02F7E-BB11-4B8F-B641-4866397949A8}"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861AABED-7E80-7746-B9DB-4DB2B954C273}" srcId="{50500199-1C20-487E-B437-A9E53F03FF77}" destId="{8839BBE4-2D3F-6F4B-B15C-FA0E85776004}" srcOrd="0" destOrd="0" parTransId="{8DDF8CB2-AB58-E44A-947A-941830444E3E}" sibTransId="{A7A834D4-BD10-554C-937C-1F0562ED2946}"/>
    <dgm:cxn modelId="{7E3C46E6-356C-456D-941D-A7AA6642A80A}" type="presOf" srcId="{50500199-1C20-487E-B437-A9E53F03FF77}" destId="{509235D8-BF94-405B-9D37-45CACC1ECCC5}" srcOrd="0" destOrd="0" presId="urn:microsoft.com/office/officeart/2005/8/layout/list1"/>
    <dgm:cxn modelId="{133D6AE0-C4A0-4AFD-9A79-ACB31CD17128}" srcId="{6B5AFCFF-0413-5A47-8D14-0CD38DBD11E0}" destId="{0A19C907-DC89-4A44-BC87-828C3AD53B0F}" srcOrd="0" destOrd="0" parTransId="{1B557E19-F3C4-4CCA-8F60-1E9A9BFDB029}" sibTransId="{4FD3E1B1-976E-4B0E-8BCF-136830F21AEA}"/>
    <dgm:cxn modelId="{E827B686-B31E-41E8-81AC-CDADBE1BACCF}" type="presOf" srcId="{633CC8C3-C401-4E72-B64B-2C32F3B8EFF5}" destId="{696755E5-2A53-964C-A033-F07E791D69CA}" srcOrd="0" destOrd="3" presId="urn:microsoft.com/office/officeart/2005/8/layout/list1"/>
    <dgm:cxn modelId="{EEBB8691-60DF-4859-8838-6857CE527AB4}" type="presOf" srcId="{D8C0A8BA-1C3D-E54B-BFAA-CA37492C5C60}" destId="{42FD30AD-AEED-46BF-AA1E-98035ED09A14}" srcOrd="0" destOrd="1" presId="urn:microsoft.com/office/officeart/2005/8/layout/list1"/>
    <dgm:cxn modelId="{15AA4CA5-184B-164F-AF73-A842E23304A2}" srcId="{50500199-1C20-487E-B437-A9E53F03FF77}" destId="{D8C0A8BA-1C3D-E54B-BFAA-CA37492C5C60}" srcOrd="1" destOrd="0" parTransId="{5AC8E379-EF3C-374C-B881-1A48DAE2D574}" sibTransId="{D2C981AB-798D-D341-957A-C91FC11A36BD}"/>
    <dgm:cxn modelId="{8F8A1ABF-230B-4B11-A344-7BFEB461CFBC}" type="presOf" srcId="{50500199-1C20-487E-B437-A9E53F03FF77}" destId="{763A3345-5951-4D27-BE32-B9766C672E74}" srcOrd="1" destOrd="0" presId="urn:microsoft.com/office/officeart/2005/8/layout/list1"/>
    <dgm:cxn modelId="{282EFC31-9E3A-4985-B188-1DB2C2E16EC1}" type="presOf" srcId="{E72E8D88-BE18-4CBB-9B67-6008D29D7077}" destId="{696755E5-2A53-964C-A033-F07E791D69CA}" srcOrd="0" destOrd="1" presId="urn:microsoft.com/office/officeart/2005/8/layout/list1"/>
    <dgm:cxn modelId="{2F0ADB58-D194-4860-A2FF-0CE4ACF4D326}" srcId="{6B5AFCFF-0413-5A47-8D14-0CD38DBD11E0}" destId="{08FCFBD7-8A8C-4717-B9FD-3643C56E85F8}" srcOrd="2" destOrd="0" parTransId="{2CF02CA9-20A3-4993-9A8C-E04A8CA72CFE}" sibTransId="{F8E634D5-1D12-421E-B0D4-5977902C282D}"/>
    <dgm:cxn modelId="{624CC8DA-8532-4A45-93F1-3364153298CE}" type="presOf" srcId="{669A9F4D-AEB0-214D-8860-3A37A6217F00}" destId="{AFDEF3D0-366F-6F45-A0B0-42AA7143D72A}" srcOrd="0"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7CA46805-EE60-4920-BD56-DEB15CB89F70}" type="presOf" srcId="{03F2160B-B8D6-3E46-B2A2-0C35FF6BBD34}" destId="{CC1BB18B-B87B-9640-AA7C-10151CE1B699}" srcOrd="1" destOrd="0" presId="urn:microsoft.com/office/officeart/2005/8/layout/list1"/>
    <dgm:cxn modelId="{DA4E087C-D4D1-4E26-9361-8D76511911E9}" type="presOf" srcId="{03F2160B-B8D6-3E46-B2A2-0C35FF6BBD34}" destId="{799B8D7F-321A-184D-8DC1-BB7CD9DD35AB}" srcOrd="0" destOrd="0"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0AC3B460-BBCF-4FB8-95DB-7287404393A3}" srcId="{669A9F4D-AEB0-214D-8860-3A37A6217F00}" destId="{50500199-1C20-487E-B437-A9E53F03FF77}" srcOrd="2" destOrd="0" parTransId="{2FAE0617-6CA0-49A1-B9BF-F01B3E64A617}" sibTransId="{ED933EB8-2F17-4452-A56A-4FB72A3E5FA6}"/>
    <dgm:cxn modelId="{77F87FA4-5AA6-FF45-8D12-D75AC8CD5734}" srcId="{03F2160B-B8D6-3E46-B2A2-0C35FF6BBD34}" destId="{4904CF5D-1164-B34E-92F3-2C598CE4BAF8}" srcOrd="0" destOrd="0" parTransId="{BCEA0ADB-A29F-E746-967D-8EE8C758D4CB}" sibTransId="{933AC4A8-7F63-4B46-AA08-7E8E6BF1C883}"/>
    <dgm:cxn modelId="{7A364714-BFCB-4206-B4E2-E5D228BDD333}" type="presOf" srcId="{4904CF5D-1164-B34E-92F3-2C598CE4BAF8}" destId="{EE4C4B62-8C5C-7844-AAB8-796CF2DE6A8C}" srcOrd="0"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C1ABEB6B-877F-4F91-823D-26532A58D239}" type="presOf" srcId="{6B5AFCFF-0413-5A47-8D14-0CD38DBD11E0}" destId="{48CB4575-940D-ED4D-85E0-2C17E2D5DF83}" srcOrd="0" destOrd="0" presId="urn:microsoft.com/office/officeart/2005/8/layout/list1"/>
    <dgm:cxn modelId="{6C3D12DD-ADC9-49FC-AB62-E74E3154C13C}" type="presOf" srcId="{08FCFBD7-8A8C-4717-B9FD-3643C56E85F8}" destId="{696755E5-2A53-964C-A033-F07E791D69CA}" srcOrd="0" destOrd="2"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EF61B241-1C58-42A0-AA99-C7205597F1DD}" type="presOf" srcId="{0A19C907-DC89-4A44-BC87-828C3AD53B0F}" destId="{696755E5-2A53-964C-A033-F07E791D69CA}" srcOrd="0" destOrd="0" presId="urn:microsoft.com/office/officeart/2005/8/layout/list1"/>
    <dgm:cxn modelId="{6E2216F8-10E8-445C-A8E2-77159D15C026}" srcId="{6B5AFCFF-0413-5A47-8D14-0CD38DBD11E0}" destId="{E72E8D88-BE18-4CBB-9B67-6008D29D7077}" srcOrd="1" destOrd="0" parTransId="{69CD53B6-7163-4B8F-AC79-9AB07B3A0DC6}" sibTransId="{C2C00E5A-FC64-43EC-B642-3354B8AB4FC7}"/>
    <dgm:cxn modelId="{3A1B0DC1-CF51-4A20-B883-42F96AC1C5B1}" type="presOf" srcId="{8839BBE4-2D3F-6F4B-B15C-FA0E85776004}" destId="{42FD30AD-AEED-46BF-AA1E-98035ED09A14}"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Define Objectives</a:t>
          </a:r>
          <a:endParaRPr lang="en-US" sz="2000" kern="1200" dirty="0">
            <a:solidFill>
              <a:schemeClr val="bg2"/>
            </a:solidFill>
            <a:latin typeface="+mj-lt"/>
          </a:endParaRPr>
        </a:p>
        <a:p>
          <a:pPr marL="228600" lvl="1" indent="-228600" algn="l" defTabSz="889000">
            <a:lnSpc>
              <a:spcPct val="90000"/>
            </a:lnSpc>
            <a:spcBef>
              <a:spcPct val="0"/>
            </a:spcBef>
            <a:spcAft>
              <a:spcPct val="15000"/>
            </a:spcAft>
            <a:buChar char="•"/>
          </a:pPr>
          <a:r>
            <a:rPr lang="en-US" sz="2000" kern="1200">
              <a:solidFill>
                <a:schemeClr val="bg2"/>
              </a:solidFill>
              <a:latin typeface="+mj-lt"/>
            </a:rPr>
            <a:t>Identify Data Sources</a:t>
          </a:r>
          <a:endParaRPr lang="en-US" sz="2000" kern="1200" dirty="0">
            <a:solidFill>
              <a:schemeClr val="bg2"/>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Business Understanding</a:t>
          </a:r>
          <a:endParaRPr lang="en-US" sz="3200" kern="1200" dirty="0">
            <a:solidFill>
              <a:schemeClr val="bg2"/>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ata Acquisition and Understanding</a:t>
          </a:r>
          <a:endParaRPr lang="en-US" sz="3200" kern="1200" dirty="0">
            <a:solidFill>
              <a:schemeClr val="bg2"/>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2"/>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Modeling</a:t>
          </a:r>
          <a:endParaRPr lang="en-US" sz="3200" kern="1200" dirty="0">
            <a:solidFill>
              <a:schemeClr val="bg2"/>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Operationalize</a:t>
          </a:r>
          <a:endParaRPr lang="en-US" sz="2000" kern="1200" dirty="0">
            <a:solidFill>
              <a:schemeClr val="bg2"/>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eployment</a:t>
          </a:r>
          <a:endParaRPr lang="en-US" sz="3200" kern="1200" dirty="0">
            <a:solidFill>
              <a:schemeClr val="bg2"/>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Customer Acceptance</a:t>
          </a:r>
          <a:endParaRPr lang="en-US" sz="3200" kern="1200" dirty="0">
            <a:solidFill>
              <a:schemeClr val="bg2"/>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formation Management</a:t>
          </a:r>
          <a:endParaRPr lang="en-US" sz="2000" kern="1200" dirty="0">
            <a:solidFill>
              <a:schemeClr val="bg2"/>
            </a:solidFill>
          </a:endParaRP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Data Catalog</a:t>
          </a:r>
        </a:p>
        <a:p>
          <a:pPr marL="228600" lvl="1" indent="-228600" algn="l" defTabSz="889000">
            <a:lnSpc>
              <a:spcPct val="90000"/>
            </a:lnSpc>
            <a:spcBef>
              <a:spcPct val="0"/>
            </a:spcBef>
            <a:spcAft>
              <a:spcPct val="15000"/>
            </a:spcAft>
            <a:buChar char="•"/>
          </a:pPr>
          <a:r>
            <a:rPr lang="en-US" sz="2000" kern="1200" dirty="0">
              <a:solidFill>
                <a:schemeClr val="bg2"/>
              </a:solidFill>
            </a:rPr>
            <a:t>Data Factory</a:t>
          </a:r>
        </a:p>
        <a:p>
          <a:pPr marL="228600" lvl="1" indent="-228600" algn="l" defTabSz="889000">
            <a:lnSpc>
              <a:spcPct val="90000"/>
            </a:lnSpc>
            <a:spcBef>
              <a:spcPct val="0"/>
            </a:spcBef>
            <a:spcAft>
              <a:spcPct val="15000"/>
            </a:spcAft>
            <a:buChar char="•"/>
          </a:pPr>
          <a:r>
            <a:rPr lang="en-US" sz="2000" kern="1200" dirty="0">
              <a:solidFill>
                <a:schemeClr val="bg2"/>
              </a:solidFill>
            </a:rPr>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Big Data</a:t>
          </a:r>
          <a:endParaRPr lang="en-US" sz="2000" kern="1200" dirty="0">
            <a:solidFill>
              <a:schemeClr val="bg2"/>
            </a:solidFill>
          </a:endParaRP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Azure Storage</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QL Data Warehouse</a:t>
          </a:r>
        </a:p>
        <a:p>
          <a:pPr marL="228600" lvl="1" indent="-228600" algn="l" defTabSz="889000">
            <a:lnSpc>
              <a:spcPct val="90000"/>
            </a:lnSpc>
            <a:spcBef>
              <a:spcPct val="0"/>
            </a:spcBef>
            <a:spcAft>
              <a:spcPct val="15000"/>
            </a:spcAft>
            <a:buChar char="•"/>
          </a:pPr>
          <a:r>
            <a:rPr lang="en-US" sz="2000" kern="1200" dirty="0">
              <a:solidFill>
                <a:schemeClr val="bg2"/>
              </a:solidFill>
            </a:rPr>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telligence and Advanced Analytics</a:t>
          </a:r>
          <a:endParaRPr lang="en-US" sz="2000" kern="1200" dirty="0">
            <a:solidFill>
              <a:schemeClr val="bg2"/>
            </a:solidFill>
          </a:endParaRP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Cortana, Bot Service, Cognitive Framework</a:t>
          </a:r>
        </a:p>
        <a:p>
          <a:pPr marL="228600" lvl="1" indent="-228600" algn="l" defTabSz="889000">
            <a:lnSpc>
              <a:spcPct val="90000"/>
            </a:lnSpc>
            <a:spcBef>
              <a:spcPct val="0"/>
            </a:spcBef>
            <a:spcAft>
              <a:spcPct val="15000"/>
            </a:spcAft>
            <a:buChar char="•"/>
          </a:pPr>
          <a:r>
            <a:rPr lang="en-US" sz="2000" kern="1200" dirty="0">
              <a:solidFill>
                <a:schemeClr val="bg2"/>
              </a:solidFill>
            </a:rPr>
            <a:t>Machine Learning</a:t>
          </a:r>
        </a:p>
        <a:p>
          <a:pPr marL="228600" lvl="1" indent="-228600" algn="l" defTabSz="889000">
            <a:lnSpc>
              <a:spcPct val="90000"/>
            </a:lnSpc>
            <a:spcBef>
              <a:spcPct val="0"/>
            </a:spcBef>
            <a:spcAft>
              <a:spcPct val="15000"/>
            </a:spcAft>
            <a:buChar char="•"/>
          </a:pPr>
          <a:r>
            <a:rPr lang="en-US" sz="2000" kern="1200" dirty="0">
              <a:solidFill>
                <a:schemeClr val="bg2"/>
              </a:solidFill>
            </a:rPr>
            <a:t>HDInsight</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tream Analytics</a:t>
          </a:r>
        </a:p>
        <a:p>
          <a:pPr marL="228600" lvl="1" indent="-228600" algn="l" defTabSz="889000">
            <a:lnSpc>
              <a:spcPct val="90000"/>
            </a:lnSpc>
            <a:spcBef>
              <a:spcPct val="0"/>
            </a:spcBef>
            <a:spcAft>
              <a:spcPct val="15000"/>
            </a:spcAft>
            <a:buChar char="•"/>
          </a:pPr>
          <a:r>
            <a:rPr lang="en-US" sz="2000" kern="1200" dirty="0">
              <a:solidFill>
                <a:schemeClr val="bg2"/>
              </a:solidFill>
            </a:rPr>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Visualization</a:t>
          </a:r>
          <a:endParaRPr lang="en-US" sz="2000" kern="1200" dirty="0">
            <a:solidFill>
              <a:schemeClr val="bg2"/>
            </a:solidFill>
          </a:endParaRP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Power BI</a:t>
          </a:r>
        </a:p>
        <a:p>
          <a:pPr marL="228600" lvl="1" indent="-228600" algn="l" defTabSz="889000">
            <a:lnSpc>
              <a:spcPct val="90000"/>
            </a:lnSpc>
            <a:spcBef>
              <a:spcPct val="0"/>
            </a:spcBef>
            <a:spcAft>
              <a:spcPct val="15000"/>
            </a:spcAft>
            <a:buChar char="•"/>
          </a:pPr>
          <a:r>
            <a:rPr lang="en-US" sz="2000" kern="1200" dirty="0">
              <a:solidFill>
                <a:schemeClr val="bg2"/>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Solutions</a:t>
          </a:r>
          <a:endParaRPr lang="en-US" sz="2000" kern="1200" dirty="0">
            <a:solidFill>
              <a:schemeClr val="bg2"/>
            </a:solidFill>
          </a:endParaRP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16/2017 2:0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ran.r-project.org/doc/manuals/R-data.html"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datacamp.com/community/tutorials/r-data-import-tutorial#gs.LV5iKLY"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ackages.revolutionanalytics.com/doc/8.0.0/win/RevoScaleR_ODBC.pdf"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ttps://www.youtube.com/user/thelearnr </a:t>
            </a:r>
          </a:p>
          <a:p>
            <a:pPr marL="228600" indent="-228600">
              <a:buFont typeface="+mj-lt"/>
              <a:buAutoNum type="arabicPeriod"/>
            </a:pPr>
            <a:r>
              <a:rPr lang="en-US" sz="2000" dirty="0"/>
              <a:t>R Links - http://www.datasciencecentral.com/m/discussion?id=6448529%3ATopic%3A280135</a:t>
            </a:r>
          </a:p>
          <a:p>
            <a:pPr marL="228600" indent="-228600">
              <a:buFont typeface="+mj-lt"/>
              <a:buAutoNum type="arabicPeriod"/>
            </a:pPr>
            <a:r>
              <a:rPr lang="en-US" sz="2000" dirty="0"/>
              <a:t>R resources - https://msdn.microsoft.com/en-us/microsoft-r/microsoft-r-more-resourc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https://azure.microsoft.com/</a:t>
            </a:r>
            <a:r>
              <a:rPr lang="en-US" sz="1600" dirty="0" err="1"/>
              <a:t>en</a:t>
            </a:r>
            <a:r>
              <a:rPr lang="en-US" sz="1600" dirty="0"/>
              <a:t>-us/documentation/articles/machine-learning-data-science-</a:t>
            </a:r>
            <a:r>
              <a:rPr lang="en-US" sz="1600" dirty="0" err="1"/>
              <a:t>vm</a:t>
            </a:r>
            <a:r>
              <a:rPr lang="en-US" sz="1600" dirty="0"/>
              <a:t>-do-ten-things/</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600" dirty="0"/>
              <a:t>Open the file </a:t>
            </a:r>
            <a:r>
              <a:rPr lang="en-US" sz="1600" b="1" dirty="0"/>
              <a:t>R for SQL Professionals Lab (Student).R </a:t>
            </a:r>
            <a:r>
              <a:rPr lang="en-US" sz="1600" dirty="0"/>
              <a:t>and complete all exercises in </a:t>
            </a:r>
            <a:r>
              <a:rPr lang="en-US" sz="1100" b="1" kern="1200" dirty="0">
                <a:solidFill>
                  <a:schemeClr val="tx1"/>
                </a:solidFill>
                <a:latin typeface="Segoe UI Light" pitchFamily="34" charset="0"/>
                <a:ea typeface="+mn-ea"/>
                <a:cs typeface="+mn-cs"/>
              </a:rPr>
              <a:t>#2. Data Structures</a:t>
            </a:r>
            <a:r>
              <a:rPr lang="en-US" sz="1600" dirty="0"/>
              <a:t>. Stop at the section marked </a:t>
            </a:r>
            <a:r>
              <a:rPr lang="en-US" sz="1100" b="1" kern="1200" dirty="0">
                <a:solidFill>
                  <a:schemeClr val="tx1"/>
                </a:solidFill>
                <a:latin typeface="Segoe UI Light" pitchFamily="34" charset="0"/>
                <a:ea typeface="+mn-ea"/>
                <a:cs typeface="+mn-cs"/>
              </a:rPr>
              <a:t>#3. Data Ingress and Connection Options</a:t>
            </a:r>
            <a:r>
              <a:rPr lang="en-US" sz="1100" kern="1200" dirty="0">
                <a:solidFill>
                  <a:schemeClr val="tx1"/>
                </a:solidFill>
                <a:latin typeface="Segoe UI Light" pitchFamily="34" charset="0"/>
                <a:ea typeface="+mn-ea"/>
                <a:cs typeface="+mn-cs"/>
              </a:rPr>
              <a:t>. </a:t>
            </a:r>
            <a:endParaRPr lang="en-US" sz="1600" kern="1200" dirty="0">
              <a:solidFill>
                <a:schemeClr val="tx1"/>
              </a:solidFill>
              <a:latin typeface="Segoe UI Light" pitchFamily="34" charset="0"/>
              <a:ea typeface="+mn-ea"/>
              <a:cs typeface="+mn-cs"/>
            </a:endParaRPr>
          </a:p>
          <a:p>
            <a:pPr marL="560162" lvl="1" indent="-342900">
              <a:buFont typeface="+mj-lt"/>
              <a:buAutoNum type="alphaLcParenR"/>
              <a:defRPr/>
            </a:pPr>
            <a:endParaRPr lang="en-US" sz="1600" kern="1200" baseline="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59898" cy="2564176"/>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fficial Documentation: </a:t>
            </a:r>
            <a:r>
              <a:rPr lang="en-US" dirty="0">
                <a:hlinkClick r:id="rId3"/>
              </a:rPr>
              <a:t>https://cran.r-project.org/doc/manuals/R-data.html</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8776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241" cy="261610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R data import Datacamp Tutorial: </a:t>
            </a:r>
            <a:r>
              <a:rPr lang="en-US" dirty="0">
                <a:hlinkClick r:id="rId3"/>
              </a:rPr>
              <a:t>https://www.datacamp.com/community/tutorials/r-data-import-tutorial#gs.LV5iKLY</a:t>
            </a:r>
            <a:r>
              <a:rPr lang="en-US" dirty="0"/>
              <a:t> </a:t>
            </a:r>
          </a:p>
          <a:p>
            <a:pPr marL="228600" indent="-228600">
              <a:buFont typeface="+mj-lt"/>
              <a:buAutoNum type="arabicPeriod"/>
            </a:pPr>
            <a:r>
              <a:rPr lang="en-US" dirty="0"/>
              <a:t>ODBC Connections for Microsoft R: </a:t>
            </a:r>
            <a:r>
              <a:rPr lang="en-US" dirty="0">
                <a:hlinkClick r:id="rId4"/>
              </a:rPr>
              <a:t>https://packages.revolutionanalytics.com/doc/8.0.0/win/RevoScaleR_ODBC.pdf</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131948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773613" cy="26860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kern="1200" dirty="0">
                <a:solidFill>
                  <a:schemeClr val="tx1"/>
                </a:solidFill>
                <a:latin typeface="Segoe UI Light" pitchFamily="34" charset="0"/>
                <a:ea typeface="+mn-ea"/>
                <a:cs typeface="+mn-cs"/>
              </a:rPr>
              <a:t>Open the file </a:t>
            </a:r>
            <a:r>
              <a:rPr lang="en-US" b="1" dirty="0"/>
              <a:t>R for SQL Professionals Lab (Student).R</a:t>
            </a:r>
            <a:r>
              <a:rPr lang="en-US" kern="1200" dirty="0">
                <a:solidFill>
                  <a:schemeClr val="tx1"/>
                </a:solidFill>
                <a:latin typeface="Segoe UI Light" pitchFamily="34" charset="0"/>
                <a:ea typeface="+mn-ea"/>
                <a:cs typeface="+mn-cs"/>
              </a:rPr>
              <a:t> and Complete all exercises</a:t>
            </a:r>
            <a:r>
              <a:rPr lang="en-US" kern="1200" baseline="0" dirty="0">
                <a:solidFill>
                  <a:schemeClr val="tx1"/>
                </a:solidFill>
                <a:latin typeface="Segoe UI Light" pitchFamily="34" charset="0"/>
                <a:ea typeface="+mn-ea"/>
                <a:cs typeface="+mn-cs"/>
              </a:rPr>
              <a:t> in </a:t>
            </a:r>
            <a:r>
              <a:rPr lang="en-US" sz="1200" b="1" kern="1200" dirty="0">
                <a:solidFill>
                  <a:schemeClr val="tx1"/>
                </a:solidFill>
                <a:latin typeface="Segoe UI Light" pitchFamily="34" charset="0"/>
                <a:ea typeface="+mn-ea"/>
                <a:cs typeface="+mn-cs"/>
              </a:rPr>
              <a:t>#3. Data Ingress and Connection Options</a:t>
            </a:r>
            <a:r>
              <a:rPr lang="en-US" kern="1200" baseline="0" dirty="0">
                <a:solidFill>
                  <a:schemeClr val="tx1"/>
                </a:solidFill>
                <a:latin typeface="Segoe UI Light" pitchFamily="34" charset="0"/>
                <a:ea typeface="+mn-ea"/>
                <a:cs typeface="+mn-cs"/>
              </a:rPr>
              <a:t>. Note and read 3.3. </a:t>
            </a:r>
          </a:p>
          <a:p>
            <a:pPr marL="228600" lvl="0" indent="-228600">
              <a:buFont typeface="+mj-lt"/>
              <a:buAutoNum type="arabicPeriod"/>
              <a:defRPr/>
            </a:pPr>
            <a:r>
              <a:rPr lang="en-US" i="1" kern="1200" baseline="0" dirty="0">
                <a:solidFill>
                  <a:schemeClr val="tx1"/>
                </a:solidFill>
                <a:latin typeface="Segoe UI Light" pitchFamily="34" charset="0"/>
                <a:ea typeface="+mn-ea"/>
                <a:cs typeface="+mn-cs"/>
              </a:rPr>
              <a:t>Optional</a:t>
            </a:r>
            <a:r>
              <a:rPr lang="en-US" kern="1200" baseline="0" dirty="0">
                <a:solidFill>
                  <a:schemeClr val="tx1"/>
                </a:solidFill>
                <a:latin typeface="Segoe UI Light" pitchFamily="34" charset="0"/>
                <a:ea typeface="+mn-ea"/>
                <a:cs typeface="+mn-cs"/>
              </a:rPr>
              <a:t>: Create a DSN and connect to your SQL Server, running the query you see in Section 3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32165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2611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ee book on text mining with R - http://blog.revolutionanalytics.com/2017/01/free-guide-to-text-mining-with-r.html</a:t>
            </a:r>
          </a:p>
          <a:p>
            <a:pPr marL="228600" indent="-228600">
              <a:buFont typeface="+mj-lt"/>
              <a:buAutoNum type="arabicPeriod"/>
            </a:pPr>
            <a:r>
              <a:rPr lang="en-US" dirty="0"/>
              <a:t>Series on  </a:t>
            </a:r>
            <a:r>
              <a:rPr lang="en-US" dirty="0" err="1"/>
              <a:t>tidyverse</a:t>
            </a:r>
            <a:r>
              <a:rPr lang="en-US"/>
              <a:t>: https://recurrentnull.wordpress.com/2016/11/18/r-for-sqlistas-1-welcome-to-the-tidyverse/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650262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all tasks in section </a:t>
            </a:r>
            <a:r>
              <a:rPr lang="en-US" sz="1200" b="1" kern="1200" dirty="0">
                <a:solidFill>
                  <a:schemeClr val="tx1"/>
                </a:solidFill>
                <a:latin typeface="Segoe UI Light" pitchFamily="34" charset="0"/>
                <a:ea typeface="+mn-ea"/>
                <a:cs typeface="+mn-cs"/>
              </a:rPr>
              <a:t>#4. R Functions</a:t>
            </a:r>
            <a:r>
              <a:rPr lang="en-US" sz="1200" kern="1200" dirty="0">
                <a:solidFill>
                  <a:schemeClr val="tx1"/>
                </a:solidFill>
                <a:latin typeface="Segoe UI Light" pitchFamily="34" charset="0"/>
                <a:ea typeface="+mn-ea"/>
                <a:cs typeface="+mn-cs"/>
              </a:rPr>
              <a:t>. </a:t>
            </a: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3230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4918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295367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section </a:t>
            </a:r>
            <a:r>
              <a:rPr lang="en-US" sz="1200" b="1" kern="1200" dirty="0">
                <a:solidFill>
                  <a:schemeClr val="tx1"/>
                </a:solidFill>
                <a:latin typeface="Segoe UI Light" pitchFamily="34" charset="0"/>
                <a:ea typeface="+mn-ea"/>
                <a:cs typeface="+mn-cs"/>
              </a:rPr>
              <a:t>#5. Visualization</a:t>
            </a:r>
            <a:r>
              <a:rPr lang="en-US" sz="1200" kern="1200" dirty="0">
                <a:solidFill>
                  <a:schemeClr val="tx1"/>
                </a:solidFill>
                <a:latin typeface="Segoe UI Light" pitchFamily="34" charset="0"/>
                <a:ea typeface="+mn-ea"/>
                <a:cs typeface="+mn-cs"/>
              </a:rPr>
              <a:t>.</a:t>
            </a:r>
            <a:endParaRPr lang="en-US" dirty="0"/>
          </a:p>
          <a:p>
            <a:pPr marL="228600" indent="-228600">
              <a:buFont typeface="+mj-lt"/>
              <a:buAutoNum type="arabicPeriod"/>
              <a:defRPr/>
            </a:pPr>
            <a:r>
              <a:rPr lang="en-US" i="1" dirty="0"/>
              <a:t>As Assigned</a:t>
            </a:r>
            <a:r>
              <a:rPr lang="en-US" dirty="0"/>
              <a:t>: Review the Advanced Examples</a:t>
            </a:r>
          </a:p>
          <a:p>
            <a:pPr marL="228600" indent="-228600">
              <a:buFont typeface="+mj-lt"/>
              <a:buAutoNum type="arabicPeriod"/>
              <a:defRPr/>
            </a:pPr>
            <a:r>
              <a:rPr lang="en-US" dirty="0"/>
              <a:t>Follow-on</a:t>
            </a:r>
            <a:r>
              <a:rPr lang="en-US" baseline="0" dirty="0"/>
              <a:t> Assignment: https://www.datacamp.com/courses/tech:r. This is a good place to start at this point: https://www.datacamp.com/courses/exploratory-data-analysis. This course explains using factors and other more intermediate concepts to explore data.  </a:t>
            </a:r>
            <a:endParaRPr lang="en-US" dirty="0"/>
          </a:p>
          <a:p>
            <a:pPr marL="228600" indent="-228600">
              <a:buFont typeface="+mj-lt"/>
              <a:buAutoNum type="arabicPeriod"/>
              <a:defRPr/>
            </a:pP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17323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Microsoft R Client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 </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a:p>
            <a:pPr marL="560162" lvl="1" indent="-342900">
              <a:buFont typeface="+mj-lt"/>
              <a:buAutoNum type="alphaLcParenR"/>
              <a:defRPr/>
            </a:pPr>
            <a:endParaRPr lang="en-US" sz="1600" dirty="0"/>
          </a:p>
          <a:p>
            <a:pPr marL="342900" lvl="0" indent="-342900">
              <a:buFont typeface="+mj-lt"/>
              <a:buAutoNum type="arabicPeriod"/>
              <a:defRPr/>
            </a:pPr>
            <a:r>
              <a:rPr lang="en-US" sz="1600" dirty="0"/>
              <a:t>Also optional – instead of SQL Server 2016 and Visual</a:t>
            </a:r>
            <a:r>
              <a:rPr lang="en-US" sz="1600" baseline="0" dirty="0"/>
              <a:t> Studio 2015, </a:t>
            </a:r>
            <a:r>
              <a:rPr lang="en-US" sz="1600" dirty="0"/>
              <a:t>you can use SQL Server 2017 Developer Edition</a:t>
            </a:r>
            <a:r>
              <a:rPr lang="en-US" sz="1600" baseline="0" dirty="0"/>
              <a:t> </a:t>
            </a:r>
            <a:r>
              <a:rPr lang="en-US" sz="1600" dirty="0"/>
              <a:t>if you select “SQL Server ML Services”, and Visual Studio 2017 Community</a:t>
            </a:r>
            <a:r>
              <a:rPr lang="en-US" sz="1600" baseline="0" dirty="0"/>
              <a:t> Edition, if you install the “Data Science” workload.</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https://channel9.msdn.com/Series/Microsoft-R-Server/Technology-Overview-for-Microsoft-R-Server-2016</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https://msdn.microsoft.com/en-us/microsoft-r/scaler/scaler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https://msdn.microsoft.com/en-us/microsoft-r/deployr-about</a:t>
            </a:r>
            <a:endParaRPr lang="en-US" sz="1800" baseline="0" dirty="0"/>
          </a:p>
          <a:p>
            <a:pPr marL="228600" lvl="0" indent="-228600">
              <a:buFont typeface="+mj-lt"/>
              <a:buAutoNum type="arabicPeriod"/>
              <a:defRPr/>
            </a:pPr>
            <a:r>
              <a:rPr lang="en-US" dirty="0"/>
              <a:t>Previous Documentation - 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https://msdn.microsoft.com/</a:t>
            </a:r>
            <a:r>
              <a:rPr lang="en-US" dirty="0" err="1"/>
              <a:t>en</a:t>
            </a:r>
            <a:r>
              <a:rPr lang="en-US" dirty="0"/>
              <a:t>-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https://msdn.microsoft.com/</a:t>
            </a:r>
            <a:r>
              <a:rPr lang="en-US" dirty="0" err="1"/>
              <a:t>en</a:t>
            </a:r>
            <a:r>
              <a:rPr lang="en-US" dirty="0"/>
              <a:t>-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https://msdn.microsoft.com/en-us/microsoft-r/deployr-abou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a:t>
            </a:r>
            <a:r>
              <a:rPr lang="en-US" sz="1800" kern="1200" dirty="0">
                <a:solidFill>
                  <a:schemeClr val="tx1"/>
                </a:solidFill>
                <a:effectLst/>
                <a:latin typeface="Segoe UI Light" pitchFamily="34" charset="0"/>
                <a:ea typeface="+mn-ea"/>
                <a:cs typeface="+mn-cs"/>
              </a:rPr>
              <a:t>docs.microsoft.com/en-us/sql/advanced-analytics/tutorials/sqldev-in-database-advanced-analytics-for-sql-developer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Catalog - http://azure.microsoft.com/en-us/services/data-catalog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 http://azure.microsoft.com/en-us/services/data-factory/ </a:t>
            </a:r>
            <a:r>
              <a:rPr lang="en-US" sz="1200"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Event Hubs - http://azure.microsoft.com/en-us/services/event-hubs/ </a:t>
            </a:r>
            <a:r>
              <a:rPr lang="en-US" sz="1200" b="1" dirty="0"/>
              <a:t>(Bring It)</a:t>
            </a:r>
          </a:p>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SQL Data Warehouse - http://azure.microsoft.com/en-us/services/sql-data-warehouse/ </a:t>
            </a:r>
            <a:r>
              <a:rPr lang="en-US" sz="1200" b="1" dirty="0"/>
              <a:t>(Relate It)</a:t>
            </a:r>
          </a:p>
          <a:p>
            <a:pPr marL="228600" indent="-228600">
              <a:buFont typeface="+mj-lt"/>
              <a:buAutoNum type="arabicPeriod"/>
            </a:pPr>
            <a:r>
              <a:rPr lang="en-US" sz="1200" dirty="0"/>
              <a:t>Azure Cosmos DB - https://docs.microsoft.com/en-us/azure/cosmos-db/introduction</a:t>
            </a:r>
            <a:endParaRPr lang="en-US" sz="1200" b="1" dirty="0"/>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Analysis Services - https://docs.microsoft.com/en-us/azure/analysis-services/analysis-services-overview</a:t>
            </a:r>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Templates - https://gallery.cortanaintelligence.com/browse?orderby=freshness%20desc&amp;skip=0&amp;categories=%5B%2210%22%5D and 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1813" cy="2443163"/>
          </a:xfrm>
        </p:spPr>
      </p:sp>
      <p:sp>
        <p:nvSpPr>
          <p:cNvPr id="3" name="Notes Placeholder 2"/>
          <p:cNvSpPr>
            <a:spLocks noGrp="1"/>
          </p:cNvSpPr>
          <p:nvPr>
            <p:ph type="body" idx="1"/>
          </p:nvPr>
        </p:nvSpPr>
        <p:spPr>
          <a:xfrm>
            <a:off x="99151" y="3272009"/>
            <a:ext cx="6599104" cy="5413203"/>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72332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5062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218551884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091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743796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86866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16"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098"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1169972821"/>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image" Target="../media/image33.emf"/><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32.png"/><Relationship Id="rId4" Type="http://schemas.openxmlformats.org/officeDocument/2006/relationships/image" Target="../media/image44.png"/></Relationships>
</file>

<file path=ppt/slides/_rels/slide3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4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3.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44.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2.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7.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5.png"/><Relationship Id="rId4" Type="http://schemas.openxmlformats.org/officeDocument/2006/relationships/image" Target="../media/image44.png"/></Relationships>
</file>

<file path=ppt/slides/_rels/slide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9.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54.xml"/><Relationship Id="rId1" Type="http://schemas.openxmlformats.org/officeDocument/2006/relationships/slideLayout" Target="../slideLayouts/slideLayout1.xml"/><Relationship Id="rId5" Type="http://schemas.openxmlformats.org/officeDocument/2006/relationships/image" Target="../media/image57.emf"/><Relationship Id="rId4" Type="http://schemas.openxmlformats.org/officeDocument/2006/relationships/image" Target="../media/image56.emf"/></Relationships>
</file>

<file path=ppt/slides/_rels/slide5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5.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7.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58.xml"/><Relationship Id="rId1" Type="http://schemas.openxmlformats.org/officeDocument/2006/relationships/slideLayout" Target="../slideLayouts/slideLayout1.xml"/><Relationship Id="rId4" Type="http://schemas.openxmlformats.org/officeDocument/2006/relationships/image" Target="../media/image60.emf"/></Relationships>
</file>

<file path=ppt/slides/_rels/slide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9.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0.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4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SQL Professional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46288"/>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8131" y="171450"/>
            <a:ext cx="4429496" cy="766701"/>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Datatypes and Data Structure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93358" y="146685"/>
            <a:ext cx="9630503"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Ingress and Connection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78688733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5843" y="217171"/>
            <a:ext cx="4523318" cy="76581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Sources and Sinks</a:t>
            </a:r>
          </a:p>
        </p:txBody>
      </p:sp>
      <p:sp>
        <p:nvSpPr>
          <p:cNvPr id="3" name="Rectangle 2"/>
          <p:cNvSpPr/>
          <p:nvPr/>
        </p:nvSpPr>
        <p:spPr>
          <a:xfrm>
            <a:off x="966047" y="2023762"/>
            <a:ext cx="5990577"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Scrip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ccessing External Data </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Exporting Data</a:t>
            </a:r>
          </a:p>
        </p:txBody>
      </p:sp>
      <p:pic>
        <p:nvPicPr>
          <p:cNvPr id="56" name="Picture 55"/>
          <p:cNvPicPr>
            <a:picLocks noChangeAspect="1"/>
          </p:cNvPicPr>
          <p:nvPr/>
        </p:nvPicPr>
        <p:blipFill>
          <a:blip r:embed="rId3"/>
          <a:stretch>
            <a:fillRect/>
          </a:stretch>
        </p:blipFill>
        <p:spPr>
          <a:xfrm>
            <a:off x="6307698" y="762370"/>
            <a:ext cx="5533781" cy="5533781"/>
          </a:xfrm>
          <a:prstGeom prst="rect">
            <a:avLst/>
          </a:prstGeom>
        </p:spPr>
      </p:pic>
    </p:spTree>
    <p:extLst>
      <p:ext uri="{BB962C8B-B14F-4D97-AF65-F5344CB8AC3E}">
        <p14:creationId xmlns:p14="http://schemas.microsoft.com/office/powerpoint/2010/main" val="28346032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mport and use data in R, save datasets to an external file</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Understand how to Connect to a Database using RODBC</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28173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261939" y="203835"/>
            <a:ext cx="2961321" cy="81343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Func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17192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R for T-SQL Professionals (Course Materials)</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Functions and Use</a:t>
            </a:r>
          </a:p>
        </p:txBody>
      </p:sp>
      <p:sp>
        <p:nvSpPr>
          <p:cNvPr id="3" name="Rectangle 2"/>
          <p:cNvSpPr/>
          <p:nvPr/>
        </p:nvSpPr>
        <p:spPr>
          <a:xfrm>
            <a:off x="897468" y="205805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asic Function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antitative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alitative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Predictive Analytic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reating your own functions</a:t>
            </a:r>
          </a:p>
        </p:txBody>
      </p:sp>
      <p:pic>
        <p:nvPicPr>
          <p:cNvPr id="4" name="Picture 3"/>
          <p:cNvPicPr>
            <a:picLocks noChangeAspect="1"/>
          </p:cNvPicPr>
          <p:nvPr/>
        </p:nvPicPr>
        <p:blipFill>
          <a:blip r:embed="rId3"/>
          <a:stretch>
            <a:fillRect/>
          </a:stretch>
        </p:blipFill>
        <p:spPr>
          <a:xfrm>
            <a:off x="6649774" y="435661"/>
            <a:ext cx="5534606" cy="5534606"/>
          </a:xfrm>
          <a:prstGeom prst="rect">
            <a:avLst/>
          </a:prstGeom>
        </p:spPr>
      </p:pic>
    </p:spTree>
    <p:extLst>
      <p:ext uri="{BB962C8B-B14F-4D97-AF65-F5344CB8AC3E}">
        <p14:creationId xmlns:p14="http://schemas.microsoft.com/office/powerpoint/2010/main" val="14127752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Functions for Quantitative and Qualitative Analysi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408085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70498" y="180975"/>
            <a:ext cx="4572951"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Visualiza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68524324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Basic Graphics</a:t>
            </a:r>
          </a:p>
        </p:txBody>
      </p:sp>
      <p:sp>
        <p:nvSpPr>
          <p:cNvPr id="3" name="Rectangle 2"/>
          <p:cNvSpPr/>
          <p:nvPr/>
        </p:nvSpPr>
        <p:spPr>
          <a:xfrm>
            <a:off x="931334" y="1566985"/>
            <a:ext cx="9919688" cy="415498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Plo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Scatter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ox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Histogram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rgbClr val="002864"/>
                </a:solidFill>
                <a:effectLst/>
                <a:uLnTx/>
                <a:uFillTx/>
                <a:latin typeface="Segoe UI Light" panose="020B0502040204020203" pitchFamily="34" charset="0"/>
                <a:cs typeface="Segoe UI Light" panose="020B0502040204020203" pitchFamily="34" charset="0"/>
              </a:rPr>
              <a:t>Barplot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rgbClr val="002864"/>
                </a:solidFill>
                <a:effectLst/>
                <a:uLnTx/>
                <a:uFillTx/>
                <a:latin typeface="Segoe UI Light" panose="020B0502040204020203" pitchFamily="34" charset="0"/>
                <a:cs typeface="Segoe UI Light" panose="020B0502040204020203" pitchFamily="34" charset="0"/>
              </a:rPr>
              <a:t>Piechart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5891178" y="630237"/>
            <a:ext cx="5566441" cy="5566441"/>
          </a:xfrm>
          <a:prstGeom prst="rect">
            <a:avLst/>
          </a:prstGeom>
        </p:spPr>
      </p:pic>
    </p:spTree>
    <p:extLst>
      <p:ext uri="{BB962C8B-B14F-4D97-AF65-F5344CB8AC3E}">
        <p14:creationId xmlns:p14="http://schemas.microsoft.com/office/powerpoint/2010/main" val="8588098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hoose and Apply Graphics for Analysi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792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081650496"/>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95467"/>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R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34049"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F0"/>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ED7D31"/>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917120" y="3837807"/>
            <a:ext cx="630532" cy="189659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ylinder 12"/>
          <p:cNvSpPr/>
          <p:nvPr/>
        </p:nvSpPr>
        <p:spPr bwMode="auto">
          <a:xfrm>
            <a:off x="7314941" y="3665705"/>
            <a:ext cx="2567676" cy="1473273"/>
          </a:xfrm>
          <a:prstGeom prst="ca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585269" y="2348821"/>
            <a:ext cx="2729672" cy="2438883"/>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240797"/>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078320" y="2499978"/>
            <a:ext cx="1758437" cy="769441"/>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a:t>
            </a:r>
            <a:r>
              <a:rPr kumimoji="0" lang="en-US" sz="1200"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1200"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48</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7129352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chemeClr val="bg2">
                    <a:lumMod val="75000"/>
                    <a:lumOff val="25000"/>
                  </a:schemeClr>
                </a:solidFill>
              </a:rPr>
              <a:t>Platform</a:t>
            </a:r>
          </a:p>
        </p:txBody>
      </p:sp>
      <p:graphicFrame>
        <p:nvGraphicFramePr>
          <p:cNvPr id="3" name="Diagram 2"/>
          <p:cNvGraphicFramePr/>
          <p:nvPr>
            <p:extLst>
              <p:ext uri="{D42A27DB-BD31-4B8C-83A1-F6EECF244321}">
                <p14:modId xmlns:p14="http://schemas.microsoft.com/office/powerpoint/2010/main" val="517937740"/>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3187595948"/>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962283" y="126449"/>
            <a:ext cx="10379008" cy="917575"/>
          </a:xfrm>
        </p:spPr>
        <p:txBody>
          <a:bodyPr vert="horz" wrap="square" lIns="146304" tIns="91440" rIns="146304" bIns="91440" rtlCol="0" anchor="t">
            <a:noAutofit/>
          </a:bodyPr>
          <a:lstStyle/>
          <a:p>
            <a:pPr algn="ctr"/>
            <a:r>
              <a:rPr lang="en-US" sz="4800" dirty="0"/>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960</Words>
  <Application>Microsoft Office PowerPoint</Application>
  <PresentationFormat>Custom</PresentationFormat>
  <Paragraphs>880</Paragraphs>
  <Slides>61</Slides>
  <Notes>6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77"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Wingdings 3</vt:lpstr>
      <vt:lpstr>FY15 Enterprise identity theme</vt:lpstr>
      <vt:lpstr>Office Theme</vt:lpstr>
      <vt:lpstr>1_WHITE TEMPLAT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R Data Ingress and Connection Options</vt:lpstr>
      <vt:lpstr>Sources and Sinks</vt:lpstr>
      <vt:lpstr>Lab:</vt:lpstr>
      <vt:lpstr>R Functions</vt:lpstr>
      <vt:lpstr>Functions and Use</vt:lpstr>
      <vt:lpstr>Lab:</vt:lpstr>
      <vt:lpstr>R Visualizations</vt:lpstr>
      <vt:lpstr>Basic Graphics</vt:lpstr>
      <vt:lpstr>Lab:</vt:lpstr>
      <vt:lpstr>The Microsoft R Platform</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16T18:13:15Z</dcterms:modified>
</cp:coreProperties>
</file>